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21"/>
  </p:notesMasterIdLst>
  <p:handoutMasterIdLst>
    <p:handoutMasterId r:id="rId22"/>
  </p:handoutMasterIdLst>
  <p:sldIdLst>
    <p:sldId id="5002" r:id="rId5"/>
    <p:sldId id="5197" r:id="rId6"/>
    <p:sldId id="5193" r:id="rId7"/>
    <p:sldId id="5165" r:id="rId8"/>
    <p:sldId id="5184" r:id="rId9"/>
    <p:sldId id="5191" r:id="rId10"/>
    <p:sldId id="5194" r:id="rId11"/>
    <p:sldId id="5195" r:id="rId12"/>
    <p:sldId id="5185" r:id="rId13"/>
    <p:sldId id="5192" r:id="rId14"/>
    <p:sldId id="5196" r:id="rId15"/>
    <p:sldId id="5198" r:id="rId16"/>
    <p:sldId id="5186" r:id="rId17"/>
    <p:sldId id="5187" r:id="rId18"/>
    <p:sldId id="5188" r:id="rId19"/>
    <p:sldId id="5199" r:id="rId20"/>
  </p:sldIdLst>
  <p:sldSz cx="9144000" cy="5143500" type="screen16x9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272"/>
  </p:normalViewPr>
  <p:slideViewPr>
    <p:cSldViewPr snapToGrid="0" showGuides="1">
      <p:cViewPr varScale="1">
        <p:scale>
          <a:sx n="77" d="100"/>
          <a:sy n="77" d="100"/>
        </p:scale>
        <p:origin x="1004" y="60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1523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21/10/2025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21/10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144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914CC-A35C-4A70-E94D-D7D898EA96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73E18A-79C5-2586-B553-AE1DF4BA1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E9B8C5-3124-05C0-E083-99EDCD3B0E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5C8DD2-7C61-E972-BDD8-C9D2663DE0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9850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205007-2DE0-8BF1-7783-A715B2F8B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95DC1-3727-4A3C-CB00-0EB635E6E6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98D64F-6D62-D6D8-1731-93EB705380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2FF7C6-A789-FBE9-4F11-83F88748B8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3059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57FBA3-EE71-5995-A267-C2FD4AB59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A609EA-87ED-1E84-356A-E9B373AC6C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C8D7E7-6871-B4C4-D53C-9C32DA9A26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88949-BC2E-A199-0475-2F474A999A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70950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996BF2-F09A-4462-4DAC-EB507E7C5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344A19-1897-AF64-B544-C9F151E6E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BF984B-3C8D-CE2D-BD26-78C8FBFE06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62F402-9B62-5014-87F8-39E6D53FBD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1361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D9F672-30E1-223B-3896-1BF763EC6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EFC0D5-659D-DDEE-D555-239AB46F84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AFFABE-16CE-6663-3A2A-579D6F432F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523E63-2CC7-419E-B909-06B282CB2C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005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824D-0BDC-DA5A-FFF9-F091FC93A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5B0A33-7FF7-B628-42E7-530B09DDB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5F359D-9CD2-2C5C-40DD-15A80C9262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75AE91-EA83-B55C-E434-13A44DD081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029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7B998-CF5E-96E3-F7D2-12EEF872A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B75E55-75CF-3FE7-817F-4F52DF605E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052A84-72EE-79B8-66DA-0FCBE5D6E9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23F43C-07E5-5F1F-A732-A6A1860A7A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2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8296D-71E5-A8ED-F4E5-A9D2790B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7A66DB-CD8B-4529-ED86-E37FF01AEF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60AD5E-CACC-CD13-2D78-11804ADF10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44510-BA5C-2DB9-FAE5-2C5C188C0D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85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1667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B44EC-8F10-B1B4-AEF9-6A48AC158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D4681F-29E9-E5C5-EA9D-2532CCAA2E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461EC-02F4-B9C1-85F3-E37E52C77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7F41C-302A-E0B4-D874-7142CB526F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739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56847E-2FCB-9A87-DC45-5403EDE11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1891F2-5482-B869-0319-5174D551E9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9E733B-794C-C367-3BBB-8A9BA60A90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463CF-F8EE-2FBA-0632-6320AE34CB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994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110C27-5B2C-F87C-9F7F-0487589ADF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62080F-9801-29C2-6F53-BB6C99AFE4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682E5B-0C3C-2C08-0D9E-329BB2D97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AEE08E-BCFC-1D48-C9B6-AED98B63D3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867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E158F-74B2-58B1-5764-8BB0EEA9F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4943AA-DFA7-CDE6-2F91-10E06E745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5814FC-0A15-931C-58BD-E244F48DDB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551A48-12D8-4C2A-45AB-A1AAE4EB86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3575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6D12AE-3257-35C7-BF86-476AA6B73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E8DBC7-F3C8-982A-D717-F8F7529DE5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02348-06B9-7E02-DC2F-C561577EBE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988720-5D44-20F6-F615-FB5479444B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60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GB" dirty="0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cmje.org/about-icmj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D8347-4804-47F1-98FB-1E11456E58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Geraldine Lovell, Senior Indexation Manager, Elsevier</a:t>
            </a:r>
          </a:p>
          <a:p>
            <a:r>
              <a:rPr lang="nl-NL" dirty="0"/>
              <a:t>Oct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Indexation bas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9378B2-982B-4C37-BEC6-9E2229210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448" y="2764413"/>
            <a:ext cx="5112709" cy="762000"/>
          </a:xfrm>
        </p:spPr>
        <p:txBody>
          <a:bodyPr/>
          <a:lstStyle/>
          <a:p>
            <a:r>
              <a:rPr lang="en-GB" dirty="0"/>
              <a:t>IV International Conference </a:t>
            </a:r>
            <a:r>
              <a:rPr lang="en-GB" i="1" dirty="0"/>
              <a:t>"Open Science and Innovation in Ukraine 2025</a:t>
            </a:r>
            <a:endParaRPr lang="nl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375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800">
        <p:fade/>
      </p:transition>
    </mc:Choice>
    <mc:Fallback xmlns="">
      <p:transition spd="med" advTm="2280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9F6F5-9A77-A494-E20A-9B07E75DA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EB4D14-603A-A286-3281-3606A2C60C47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Measures a journal’s impact over a **4-year citation window   </a:t>
            </a:r>
          </a:p>
          <a:p>
            <a:pPr marL="0" indent="0">
              <a:buNone/>
            </a:pPr>
            <a:r>
              <a:rPr lang="en-US" dirty="0"/>
              <a:t>		</a:t>
            </a:r>
            <a:r>
              <a:rPr lang="en-US" dirty="0" err="1"/>
              <a:t>CiteScore</a:t>
            </a:r>
            <a:r>
              <a:rPr lang="en-US" dirty="0"/>
              <a:t> = Total citations in Year X to articles from (X-1) to (X-4)</a:t>
            </a:r>
          </a:p>
          <a:p>
            <a:pPr marL="0" indent="0">
              <a:buNone/>
            </a:pPr>
            <a:r>
              <a:rPr lang="en-US" dirty="0"/>
              <a:t>             	          ------------------------------------------------------</a:t>
            </a:r>
          </a:p>
          <a:p>
            <a:pPr marL="0" indent="0">
              <a:buNone/>
            </a:pPr>
            <a:r>
              <a:rPr lang="en-US" dirty="0"/>
              <a:t>            	         Total citable documents from (X-1) to (X-4)</a:t>
            </a:r>
          </a:p>
          <a:p>
            <a:r>
              <a:rPr lang="en-US" dirty="0"/>
              <a:t>Example Calculation (2023 </a:t>
            </a:r>
            <a:r>
              <a:rPr lang="en-US" dirty="0" err="1"/>
              <a:t>CiteScore</a:t>
            </a:r>
            <a:r>
              <a:rPr lang="en-US" dirty="0"/>
              <a:t>)**</a:t>
            </a:r>
          </a:p>
          <a:p>
            <a:pPr marL="0" indent="0">
              <a:buNone/>
            </a:pPr>
            <a:r>
              <a:rPr lang="en-US" dirty="0"/>
              <a:t>		800 citations** (in 2023) to articles published in 2019-2022</a:t>
            </a:r>
          </a:p>
          <a:p>
            <a:pPr marL="0" indent="0">
              <a:buNone/>
            </a:pPr>
            <a:r>
              <a:rPr lang="en-US" dirty="0"/>
              <a:t>			200 documents published in 2019-2022</a:t>
            </a:r>
          </a:p>
          <a:p>
            <a:pPr marL="0" indent="0">
              <a:buNone/>
            </a:pPr>
            <a:r>
              <a:rPr lang="en-US" dirty="0"/>
              <a:t>				</a:t>
            </a:r>
            <a:r>
              <a:rPr lang="en-US" dirty="0" err="1"/>
              <a:t>CiteScore</a:t>
            </a:r>
            <a:r>
              <a:rPr lang="en-US" dirty="0"/>
              <a:t> = 800 / 200 = **4.0**</a:t>
            </a:r>
          </a:p>
          <a:p>
            <a:pPr marL="0" indent="0">
              <a:buNone/>
            </a:pPr>
            <a:r>
              <a:rPr lang="en-US" sz="1800" dirty="0"/>
              <a:t> </a:t>
            </a:r>
            <a:r>
              <a:rPr lang="en-US" sz="1600" dirty="0"/>
              <a:t>✅ Key Differences Between </a:t>
            </a:r>
            <a:r>
              <a:rPr lang="en-US" sz="1600" dirty="0" err="1"/>
              <a:t>CiteScore</a:t>
            </a:r>
            <a:r>
              <a:rPr lang="en-US" sz="1600" dirty="0"/>
              <a:t> &amp; Impact Factor</a:t>
            </a:r>
          </a:p>
          <a:p>
            <a:pPr marL="0" indent="0">
              <a:buNone/>
            </a:pPr>
            <a:r>
              <a:rPr lang="en-US" sz="1600" dirty="0"/>
              <a:t> ✅ </a:t>
            </a:r>
            <a:r>
              <a:rPr lang="en-US" sz="1600" dirty="0" err="1"/>
              <a:t>CiteScore</a:t>
            </a:r>
            <a:r>
              <a:rPr lang="en-US" sz="1600" dirty="0"/>
              <a:t>:  4-year window, includes all document types, from Scopus</a:t>
            </a:r>
          </a:p>
          <a:p>
            <a:pPr marL="0" indent="0">
              <a:buNone/>
            </a:pPr>
            <a:r>
              <a:rPr lang="en-US" sz="1600" dirty="0"/>
              <a:t> ✅ Impact Factor:  2-year window, only research articles &amp; reviews, from </a:t>
            </a:r>
            <a:r>
              <a:rPr lang="en-US" sz="1600" dirty="0" err="1"/>
              <a:t>WoS</a:t>
            </a:r>
            <a:r>
              <a:rPr lang="en-US" sz="1600" dirty="0"/>
              <a:t>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1820A2-336B-80E3-162F-7474B7F7E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w is CiteScore calculated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B98E00-2B9D-F63C-F138-003E8ED717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950" y="101408"/>
            <a:ext cx="1527650" cy="619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2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8072">
        <p:fade/>
      </p:transition>
    </mc:Choice>
    <mc:Fallback xmlns="">
      <p:transition spd="med" advTm="68072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2230-33C2-EE3A-D750-7E4A7176E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969DF5-2A2C-0A61-208E-CE73C5F01D47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For researchers/authors: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Article should contribute to academic field with high-quality research</a:t>
            </a:r>
          </a:p>
          <a:p>
            <a:r>
              <a:rPr lang="nl-NL" dirty="0"/>
              <a:t>Scopus focus strongly on citations – share your work as broadly as possible to help generate these</a:t>
            </a:r>
          </a:p>
          <a:p>
            <a:r>
              <a:rPr lang="nl-NL" dirty="0"/>
              <a:t>Follow journal guidelines closely; Scopus editors will look for compliance</a:t>
            </a:r>
          </a:p>
          <a:p>
            <a:r>
              <a:rPr lang="nl-NL" dirty="0"/>
              <a:t>If required, </a:t>
            </a:r>
            <a:r>
              <a:rPr lang="en-US" dirty="0"/>
              <a:t>consider professional editing services to refine grammar and clarity</a:t>
            </a:r>
          </a:p>
          <a:p>
            <a:r>
              <a:rPr lang="en-US" dirty="0"/>
              <a:t>List all contributing authors and avoid ghost or honorary authorship</a:t>
            </a:r>
          </a:p>
          <a:p>
            <a:r>
              <a:rPr lang="en-US" dirty="0"/>
              <a:t>Write a strong cover letter: briefly explain your paper’s importance, how it fits the journal, and why it should be published.</a:t>
            </a: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D76CCC-13D8-945E-C24C-34D9C6377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copus - tips</a:t>
            </a:r>
          </a:p>
        </p:txBody>
      </p:sp>
      <p:pic>
        <p:nvPicPr>
          <p:cNvPr id="4" name="Picture 3" descr="A yellow light bulb with black text&#10;&#10;AI-generated content may be incorrect.">
            <a:extLst>
              <a:ext uri="{FF2B5EF4-FFF2-40B4-BE49-F238E27FC236}">
                <a16:creationId xmlns:a16="http://schemas.microsoft.com/office/drawing/2014/main" id="{F769DA0B-CA5D-DEAB-4482-519891E7EE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058" y="3752"/>
            <a:ext cx="1531900" cy="127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3376">
        <p:fade/>
      </p:transition>
    </mc:Choice>
    <mc:Fallback xmlns="">
      <p:transition spd="med" advTm="113376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4FE17-EDA3-89F2-AECE-AE7745126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A627D-696A-DDCE-E0EB-E13CFE2C68D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For Publishers/Societies: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Ensure journal meets Scopus requirements (peer reviewed, ISSN, regular publication, diverse authorship and board</a:t>
            </a:r>
          </a:p>
          <a:p>
            <a:r>
              <a:rPr lang="nl-NL" dirty="0"/>
              <a:t>Clear processes described on your journal home page</a:t>
            </a:r>
          </a:p>
          <a:p>
            <a:r>
              <a:rPr lang="en-US" dirty="0"/>
              <a:t>Ensure a clear peer-review process (double-blind or single-blind).</a:t>
            </a:r>
            <a:endParaRPr lang="nl-NL" dirty="0"/>
          </a:p>
          <a:p>
            <a:r>
              <a:rPr lang="nl-NL" dirty="0"/>
              <a:t>Follow COPE guidelines (https://publicationethics.org/)</a:t>
            </a:r>
          </a:p>
          <a:p>
            <a:r>
              <a:rPr lang="en-US" dirty="0"/>
              <a:t>Focus on obtaining original, high-impact research with global relevance.</a:t>
            </a:r>
          </a:p>
          <a:p>
            <a:r>
              <a:rPr lang="en-US" dirty="0"/>
              <a:t>Maintain high citation rates by encouraging authors to promote their work.</a:t>
            </a:r>
            <a:endParaRPr lang="nl-NL" dirty="0"/>
          </a:p>
          <a:p>
            <a:pPr marL="0" indent="0">
              <a:buNone/>
            </a:pPr>
            <a:endParaRPr lang="nl-NL" dirty="0"/>
          </a:p>
          <a:p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C901B2-F56A-D331-A39B-63D0304AE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copus tips - continued</a:t>
            </a:r>
          </a:p>
        </p:txBody>
      </p:sp>
      <p:pic>
        <p:nvPicPr>
          <p:cNvPr id="4" name="Picture 3" descr="A yellow light bulb with black text&#10;&#10;AI-generated content may be incorrect.">
            <a:extLst>
              <a:ext uri="{FF2B5EF4-FFF2-40B4-BE49-F238E27FC236}">
                <a16:creationId xmlns:a16="http://schemas.microsoft.com/office/drawing/2014/main" id="{4E11F725-E459-F17D-1FE6-09F23EEA54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058" y="3752"/>
            <a:ext cx="1531900" cy="127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22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3366">
        <p:fade/>
      </p:transition>
    </mc:Choice>
    <mc:Fallback xmlns="">
      <p:transition spd="med" advTm="83366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82F81C-CF37-5780-A638-906757F15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5192B6-BFC9-2CC7-46C0-5D42571E24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5"/>
            <a:ext cx="7991475" cy="4052859"/>
          </a:xfrm>
        </p:spPr>
        <p:txBody>
          <a:bodyPr/>
          <a:lstStyle/>
          <a:p>
            <a:r>
              <a:rPr lang="en-US" sz="1600" dirty="0"/>
              <a:t>A free </a:t>
            </a:r>
            <a:r>
              <a:rPr lang="en-US" sz="1600" b="1" dirty="0"/>
              <a:t>search engine </a:t>
            </a:r>
            <a:r>
              <a:rPr lang="en-US" sz="1600" dirty="0"/>
              <a:t>from the U.S. National Library of Medicine (NLM).</a:t>
            </a:r>
          </a:p>
          <a:p>
            <a:r>
              <a:rPr lang="en-US" sz="1600" dirty="0"/>
              <a:t>Focuses on biomedical and life sciences literature.</a:t>
            </a:r>
          </a:p>
          <a:p>
            <a:r>
              <a:rPr lang="en-US" sz="1600" dirty="0"/>
              <a:t>Includes citations and abstracts from MEDLINE and other sources.</a:t>
            </a:r>
          </a:p>
          <a:p>
            <a:r>
              <a:rPr lang="en-US" sz="1600" dirty="0"/>
              <a:t>Often used by researchers, healthcare professionals, and students.</a:t>
            </a:r>
          </a:p>
          <a:p>
            <a:r>
              <a:rPr lang="en-US" sz="1600" dirty="0"/>
              <a:t>Does not include full-text articles (links to publishers instead)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nl-NL" sz="1600" dirty="0"/>
              <a:t>No application process for PubMed. If accepted for PubMed Central or Medline then citations/abstracts will automatically flow through to PubMed Search Engine (typically 3 days later)</a:t>
            </a:r>
          </a:p>
          <a:p>
            <a:r>
              <a:rPr lang="nl-NL" sz="1600" dirty="0"/>
              <a:t>Funded papers (ie, Wellcome Trust, NIH-funded, other European funders) will also have citations on PubMed</a:t>
            </a:r>
          </a:p>
          <a:p>
            <a:r>
              <a:rPr lang="nl-NL" sz="1600" dirty="0"/>
              <a:t>Automatic process, no input required from publishers, researchers</a:t>
            </a:r>
            <a:endParaRPr lang="en-US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BEB170-FA54-F890-1035-ECBD4325E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ubM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0E7F7B-B6D5-3CDF-A6D8-0D136B8654B8}"/>
              </a:ext>
            </a:extLst>
          </p:cNvPr>
          <p:cNvSpPr txBox="1"/>
          <p:nvPr/>
        </p:nvSpPr>
        <p:spPr>
          <a:xfrm>
            <a:off x="2143049" y="2571750"/>
            <a:ext cx="4688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CAC20F-A3E9-E362-92C7-C182EE8EE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1357" y="80339"/>
            <a:ext cx="1385612" cy="513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93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9738">
        <p:fade/>
      </p:transition>
    </mc:Choice>
    <mc:Fallback xmlns="">
      <p:transition spd="med" advTm="119738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06D3AD-B944-795E-15A5-52B344025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CB8EE2-4104-6346-422B-45B5E6EFC4C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sz="1600" dirty="0"/>
              <a:t>A free full-text </a:t>
            </a:r>
            <a:r>
              <a:rPr lang="en-US" sz="1600" b="1" dirty="0"/>
              <a:t>archive</a:t>
            </a:r>
            <a:r>
              <a:rPr lang="en-US" sz="1600" dirty="0"/>
              <a:t> of biomedical and life sciences articles.</a:t>
            </a:r>
          </a:p>
          <a:p>
            <a:r>
              <a:rPr lang="en-US" sz="1600" dirty="0"/>
              <a:t>Managed by the U.S. National Institutes of Health (NIH).</a:t>
            </a:r>
          </a:p>
          <a:p>
            <a:r>
              <a:rPr lang="en-US" sz="1600" dirty="0"/>
              <a:t>Complements PubMed by providing open-access content.</a:t>
            </a:r>
          </a:p>
          <a:p>
            <a:r>
              <a:rPr lang="en-US" sz="1600" dirty="0"/>
              <a:t>Ensures long-term preservation of scholarly literature.</a:t>
            </a:r>
          </a:p>
          <a:p>
            <a:r>
              <a:rPr lang="en-US" sz="1600" dirty="0"/>
              <a:t>Articles must meet specific technical and content standards to be included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1600" dirty="0"/>
              <a:t>Publishers must apply for inclusion; review process is around 5 months</a:t>
            </a:r>
          </a:p>
          <a:p>
            <a:r>
              <a:rPr lang="en-US" sz="1600" dirty="0"/>
              <a:t>Once accepted, PMC usually accept 2 years of back-data</a:t>
            </a:r>
          </a:p>
          <a:p>
            <a:r>
              <a:rPr lang="en-US" sz="1600" dirty="0"/>
              <a:t>All new articles from researchers to an accepted journal will flow automatically through to PMC</a:t>
            </a:r>
          </a:p>
          <a:p>
            <a:r>
              <a:rPr lang="en-US" sz="1600" dirty="0"/>
              <a:t>Citations will flow through to PubMed (search engine) also</a:t>
            </a:r>
            <a:endParaRPr lang="nl-NL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042FFF-88A5-5C6B-F1DF-2CC779474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ubMed Central (PMC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424E0E-0CA4-6CAA-0264-B459342647B1}"/>
              </a:ext>
            </a:extLst>
          </p:cNvPr>
          <p:cNvSpPr txBox="1"/>
          <p:nvPr/>
        </p:nvSpPr>
        <p:spPr>
          <a:xfrm>
            <a:off x="2143049" y="2571750"/>
            <a:ext cx="4688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C199A9-8ED3-998B-A51E-8D5878999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427" y="26102"/>
            <a:ext cx="1056556" cy="84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19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8423">
        <p:fade/>
      </p:transition>
    </mc:Choice>
    <mc:Fallback xmlns="">
      <p:transition spd="med" advTm="108423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E03B4-5674-5F6E-00BE-80CD4821B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14DD85-C933-00DE-AD49-1CE1F747C9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1500" y="1167534"/>
            <a:ext cx="7991475" cy="3897313"/>
          </a:xfrm>
        </p:spPr>
        <p:txBody>
          <a:bodyPr/>
          <a:lstStyle/>
          <a:p>
            <a:r>
              <a:rPr lang="en-US" sz="1600" dirty="0"/>
              <a:t>The </a:t>
            </a:r>
            <a:r>
              <a:rPr lang="en-US" sz="1600" b="1" dirty="0"/>
              <a:t>main component </a:t>
            </a:r>
            <a:r>
              <a:rPr lang="en-US" sz="1600" dirty="0"/>
              <a:t>of PubMed, curated by the National Library of Medicine.</a:t>
            </a:r>
          </a:p>
          <a:p>
            <a:r>
              <a:rPr lang="en-US" sz="1600" dirty="0"/>
              <a:t>Covers over 5,200 journals in medicine, nursing, dentistry, and healthcare.</a:t>
            </a:r>
          </a:p>
          <a:p>
            <a:r>
              <a:rPr lang="en-US" sz="1600" dirty="0"/>
              <a:t>Indexed using Medical Subject Headings (</a:t>
            </a:r>
            <a:r>
              <a:rPr lang="en-US" sz="1600" dirty="0" err="1"/>
              <a:t>MeSH</a:t>
            </a:r>
            <a:r>
              <a:rPr lang="en-US" sz="1600" dirty="0"/>
              <a:t>) for standardized search terms.</a:t>
            </a:r>
          </a:p>
          <a:p>
            <a:r>
              <a:rPr lang="en-US" sz="1600" dirty="0"/>
              <a:t>Includes citations, abstracts, and sometimes links to full-text articles.</a:t>
            </a:r>
          </a:p>
          <a:p>
            <a:r>
              <a:rPr lang="en-US" sz="1600" dirty="0"/>
              <a:t>Focuses on rigorously selected biomedical literature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Only 12% of titles reviewed by Medline committee are accepted</a:t>
            </a:r>
          </a:p>
          <a:p>
            <a:r>
              <a:rPr lang="en-US" sz="1600" dirty="0"/>
              <a:t>One of the last indexation services that major publishers apply for, due to very low acceptance rate.</a:t>
            </a:r>
          </a:p>
          <a:p>
            <a:endParaRPr lang="nl-NL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DA25EC-627F-65EE-7167-E408112A9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edl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98C308-D91E-D242-466E-B68F035F3E6B}"/>
              </a:ext>
            </a:extLst>
          </p:cNvPr>
          <p:cNvSpPr txBox="1"/>
          <p:nvPr/>
        </p:nvSpPr>
        <p:spPr>
          <a:xfrm>
            <a:off x="2143048" y="2837758"/>
            <a:ext cx="4688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9DC64B-06E9-6C61-195E-A2BC07189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0866" y="195263"/>
            <a:ext cx="2337293" cy="48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51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5087">
        <p:fade/>
      </p:transition>
    </mc:Choice>
    <mc:Fallback xmlns="">
      <p:transition spd="med" advTm="135087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6FE23-6755-28D8-35B6-3B577991B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            Any questions?</a:t>
            </a:r>
          </a:p>
        </p:txBody>
      </p:sp>
    </p:spTree>
    <p:extLst>
      <p:ext uri="{BB962C8B-B14F-4D97-AF65-F5344CB8AC3E}">
        <p14:creationId xmlns:p14="http://schemas.microsoft.com/office/powerpoint/2010/main" val="231102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816">
        <p:fade/>
      </p:transition>
    </mc:Choice>
    <mc:Fallback xmlns="">
      <p:transition spd="med" advTm="7816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DABE5-0684-50AA-6F80-9AEE8956D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7C2D6-7081-C072-3348-F199EC5780A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nl-NL" sz="1400" dirty="0"/>
              <a:t>Main indexation services vs ‘the others’</a:t>
            </a:r>
          </a:p>
          <a:p>
            <a:r>
              <a:rPr lang="nl-NL" sz="1400" dirty="0"/>
              <a:t>DOAJ</a:t>
            </a:r>
          </a:p>
          <a:p>
            <a:r>
              <a:rPr lang="nl-NL" sz="1400" dirty="0"/>
              <a:t>Web of Science (Clarivate)</a:t>
            </a:r>
          </a:p>
          <a:p>
            <a:pPr lvl="1"/>
            <a:r>
              <a:rPr lang="nl-NL" sz="1400" dirty="0"/>
              <a:t>How the Impact Factor is calculated</a:t>
            </a:r>
          </a:p>
          <a:p>
            <a:pPr lvl="1"/>
            <a:r>
              <a:rPr lang="nl-NL" sz="1400" dirty="0"/>
              <a:t>Tips</a:t>
            </a:r>
          </a:p>
          <a:p>
            <a:r>
              <a:rPr lang="nl-NL" sz="1400" dirty="0"/>
              <a:t>Scopus</a:t>
            </a:r>
          </a:p>
          <a:p>
            <a:pPr lvl="1"/>
            <a:r>
              <a:rPr lang="nl-NL" sz="1400" dirty="0"/>
              <a:t>How Citescore is calculated</a:t>
            </a:r>
          </a:p>
          <a:p>
            <a:pPr lvl="1"/>
            <a:r>
              <a:rPr lang="nl-NL" sz="1400" dirty="0"/>
              <a:t>Tips</a:t>
            </a:r>
          </a:p>
          <a:p>
            <a:r>
              <a:rPr lang="nl-NL" sz="1400" dirty="0"/>
              <a:t>PubMed</a:t>
            </a:r>
          </a:p>
          <a:p>
            <a:r>
              <a:rPr lang="nl-NL" sz="1400" dirty="0"/>
              <a:t>PubMed Central</a:t>
            </a:r>
          </a:p>
          <a:p>
            <a:r>
              <a:rPr lang="nl-NL" sz="1400" dirty="0"/>
              <a:t>Medline</a:t>
            </a:r>
          </a:p>
          <a:p>
            <a:r>
              <a:rPr lang="nl-NL" sz="1400" dirty="0"/>
              <a:t>Questions?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81448A-265B-0828-2F40-DD093ED1A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opics we are covering:</a:t>
            </a:r>
          </a:p>
        </p:txBody>
      </p:sp>
    </p:spTree>
    <p:extLst>
      <p:ext uri="{BB962C8B-B14F-4D97-AF65-F5344CB8AC3E}">
        <p14:creationId xmlns:p14="http://schemas.microsoft.com/office/powerpoint/2010/main" val="131149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4316">
        <p:fade/>
      </p:transition>
    </mc:Choice>
    <mc:Fallback xmlns="">
      <p:transition spd="med" advTm="74316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B4FD13-79AC-A24B-1D90-40D69A3A8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A34C9C-6EA9-E6B1-D758-52F526C84AA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5"/>
            <a:ext cx="3789997" cy="3897313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‘Big 5’</a:t>
            </a:r>
          </a:p>
          <a:p>
            <a:endParaRPr lang="nl-NL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b of Science</a:t>
            </a:r>
          </a:p>
          <a:p>
            <a:pPr lvl="1"/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CI, SCIE, SSCI</a:t>
            </a:r>
          </a:p>
          <a:p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opus</a:t>
            </a:r>
          </a:p>
          <a:p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Med Central (PMC)</a:t>
            </a:r>
          </a:p>
          <a:p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line</a:t>
            </a:r>
          </a:p>
          <a:p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ory of Open Access Journals (DOAJ)</a:t>
            </a:r>
          </a:p>
          <a:p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19E79-2ED5-0977-708D-DA907D44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dexation servic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6F45A8-2D5F-077A-5A79-3662E76559F9}"/>
              </a:ext>
            </a:extLst>
          </p:cNvPr>
          <p:cNvSpPr txBox="1">
            <a:spLocks/>
          </p:cNvSpPr>
          <p:nvPr/>
        </p:nvSpPr>
        <p:spPr>
          <a:xfrm>
            <a:off x="697241" y="835024"/>
            <a:ext cx="3789997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nl-NL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0354AB-035E-5A93-F0B8-08DFCD6C711D}"/>
              </a:ext>
            </a:extLst>
          </p:cNvPr>
          <p:cNvSpPr txBox="1"/>
          <p:nvPr/>
        </p:nvSpPr>
        <p:spPr>
          <a:xfrm>
            <a:off x="4930140" y="835025"/>
            <a:ext cx="3383280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‘Others’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oRef (AGI)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BI / Cab abstracts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nl-NL" dirty="0">
                <a:solidFill>
                  <a:srgbClr val="53565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hSciNet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PEC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nl-NL" dirty="0">
                <a:solidFill>
                  <a:srgbClr val="53565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 GO-OA</a:t>
            </a:r>
          </a:p>
          <a:p>
            <a:pPr marL="288000" marR="0" lvl="0" indent="-288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sycINFO (APA).........</a:t>
            </a:r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D3F66B-839F-BB1C-B18D-3E598C8CDA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569" y="3871980"/>
            <a:ext cx="1005271" cy="9952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AC3A50-C84F-0437-6CA9-3EBD8E4554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5566" y="3819455"/>
            <a:ext cx="1184580" cy="106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3861">
        <p:fade/>
      </p:transition>
    </mc:Choice>
    <mc:Fallback xmlns="">
      <p:transition spd="med" advTm="12386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F0C00B-70CC-453A-AD0F-7EC509747D1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sz="1600" dirty="0"/>
              <a:t>Free, community-curated online directory of high-quality, open-access journals.</a:t>
            </a:r>
          </a:p>
          <a:p>
            <a:r>
              <a:rPr lang="en-US" sz="1600" dirty="0"/>
              <a:t>Covers all disciplines and languages.</a:t>
            </a:r>
          </a:p>
          <a:p>
            <a:r>
              <a:rPr lang="en-US" sz="1600" dirty="0"/>
              <a:t>Journals must adhere to strict quality and transparency standards.</a:t>
            </a:r>
          </a:p>
          <a:p>
            <a:r>
              <a:rPr lang="en-US" sz="1600" dirty="0"/>
              <a:t>Promotes open access to scholarly research. Aims to increase the visibility, accessibility, and usage of open-access journals.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Can apply after 10 articles published</a:t>
            </a:r>
          </a:p>
          <a:p>
            <a:r>
              <a:rPr lang="en-US" sz="1600" dirty="0"/>
              <a:t>Strict endogeny rules can influence acceptance</a:t>
            </a:r>
          </a:p>
          <a:p>
            <a:r>
              <a:rPr lang="en-US" sz="1600" dirty="0"/>
              <a:t>Usually the first indexation service to accept a journal. Other indexation services will note this on their site</a:t>
            </a:r>
          </a:p>
          <a:p>
            <a:r>
              <a:rPr lang="en-US" sz="1600" dirty="0"/>
              <a:t>Early visibility of articles on first indexation platform</a:t>
            </a:r>
            <a:endParaRPr lang="nl-NL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18BD1F-2F3B-49E7-ABDA-FCF6122BB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AJ (Directory of Open Access Journal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995FC8-A902-A2E6-5BCE-4A0AD0A9C2E9}"/>
              </a:ext>
            </a:extLst>
          </p:cNvPr>
          <p:cNvSpPr txBox="1"/>
          <p:nvPr/>
        </p:nvSpPr>
        <p:spPr>
          <a:xfrm>
            <a:off x="1970116" y="2599015"/>
            <a:ext cx="4688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</a:t>
            </a:r>
            <a:r>
              <a:rPr lang="en-GB" dirty="0">
                <a:solidFill>
                  <a:srgbClr val="FF0000"/>
                </a:solidFill>
              </a:rPr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F5AD60-AF5F-7ADE-F3B9-77C7B01E88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3308" y="156090"/>
            <a:ext cx="770285" cy="64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59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53012">
        <p:fade/>
      </p:transition>
    </mc:Choice>
    <mc:Fallback xmlns="">
      <p:transition spd="med" advTm="153012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72622-8142-0F83-E741-AC60143D6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16462D-E55A-0380-75BD-D8EDB01F26D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5"/>
            <a:ext cx="7991475" cy="4113212"/>
          </a:xfrm>
        </p:spPr>
        <p:txBody>
          <a:bodyPr/>
          <a:lstStyle/>
          <a:p>
            <a:r>
              <a:rPr lang="nl-NL" sz="1600" dirty="0"/>
              <a:t>A multidisciplinary research database managed by Clarivate Analytics.</a:t>
            </a:r>
          </a:p>
          <a:p>
            <a:r>
              <a:rPr lang="nl-NL" sz="1600" dirty="0"/>
              <a:t>Includes high-impact journals, conference proceedings, and books.</a:t>
            </a:r>
          </a:p>
          <a:p>
            <a:r>
              <a:rPr lang="nl-NL" sz="1600" dirty="0"/>
              <a:t>Provides citation analysis and metrics (e.g., Impact Factor).</a:t>
            </a:r>
          </a:p>
          <a:p>
            <a:r>
              <a:rPr lang="nl-NL" sz="1600" dirty="0"/>
              <a:t>Focuses on quality and peer-reviewed content.</a:t>
            </a:r>
          </a:p>
          <a:p>
            <a:r>
              <a:rPr lang="nl-NL" sz="1600" dirty="0"/>
              <a:t>Frequently used for bibliometric and academic performance analysis.</a:t>
            </a:r>
          </a:p>
          <a:p>
            <a:endParaRPr lang="nl-NL" sz="1600" dirty="0"/>
          </a:p>
          <a:p>
            <a:endParaRPr lang="nl-NL" sz="1600" dirty="0"/>
          </a:p>
          <a:p>
            <a:r>
              <a:rPr lang="nl-NL" sz="1600" dirty="0"/>
              <a:t>Long application/acceptance process</a:t>
            </a:r>
          </a:p>
          <a:p>
            <a:r>
              <a:rPr lang="nl-NL" sz="1600" dirty="0"/>
              <a:t>Many researchers prefer to publish in SCIE/SSCI journals that are high-impact</a:t>
            </a:r>
          </a:p>
          <a:p>
            <a:r>
              <a:rPr lang="nl-NL" sz="1600" dirty="0"/>
              <a:t>Categories/rankings are now merged to combine SCIE/SSCI/ESCI content</a:t>
            </a:r>
          </a:p>
          <a:p>
            <a:r>
              <a:rPr lang="nl-NL" sz="1600" dirty="0"/>
              <a:t>Some ESCI journals ranking higher than SCIE/SSCI.</a:t>
            </a:r>
          </a:p>
          <a:p>
            <a:r>
              <a:rPr lang="nl-NL" sz="1600" dirty="0"/>
              <a:t>Can take up to 8 weeks for new content to appear on Wo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309527-87F0-3313-0DCC-8EFC85ACF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eb of Science – WoS (Clarivate) – Impact Facto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0ED28A-AFA1-F0BD-35D4-9ED4E9DF093F}"/>
              </a:ext>
            </a:extLst>
          </p:cNvPr>
          <p:cNvSpPr txBox="1"/>
          <p:nvPr/>
        </p:nvSpPr>
        <p:spPr>
          <a:xfrm>
            <a:off x="2143049" y="2571750"/>
            <a:ext cx="4688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3B7B8A-B612-F096-C159-B444D65E6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6301" y="73496"/>
            <a:ext cx="1111436" cy="102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1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0273">
        <p:fade/>
      </p:transition>
    </mc:Choice>
    <mc:Fallback xmlns="">
      <p:transition spd="med" advTm="190273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AB132-AC37-E227-C81F-173836331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BB113D-237A-AD00-A744-EA7C3A6F7FA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5"/>
            <a:ext cx="7985846" cy="389731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500"/>
              <a:t>The IF measures a journal's influence based on citations</a:t>
            </a:r>
          </a:p>
          <a:p>
            <a:pPr>
              <a:lnSpc>
                <a:spcPct val="90000"/>
              </a:lnSpc>
            </a:pPr>
            <a:r>
              <a:rPr lang="en-US" sz="1500"/>
              <a:t>Impact Factor = Citations in Year X to articles from (X-1) and (X-2)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                              -----------------------------------------------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				Total citable articles in (X-1) and (X-2)</a:t>
            </a:r>
          </a:p>
          <a:p>
            <a:pPr>
              <a:lnSpc>
                <a:spcPct val="90000"/>
              </a:lnSpc>
            </a:pPr>
            <a:r>
              <a:rPr lang="en-US" sz="1500"/>
              <a:t>Example Calculation (2023 JIF)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		500 citations (in 2023) to 2021-2022 articles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	          100 citable articles (published in 2021-2022)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                     Impact Factor =   500 / 100 = **5.0**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     ✅ Only **research articles &amp; reviews** count (not editorials, letters, etc.)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     ✅ Impact Factor is updated **annually**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500"/>
              <a:t>     ✅ A 5-year Impact Factor gives a broader citation window</a:t>
            </a:r>
          </a:p>
          <a:p>
            <a:pPr>
              <a:lnSpc>
                <a:spcPct val="90000"/>
              </a:lnSpc>
            </a:pPr>
            <a:endParaRPr lang="nl-NL" sz="15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EC0D48-BDEC-F8AC-DFBF-DF8A4FB9F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nl-NL" dirty="0"/>
              <a:t>How is Impact Factor (IF) calculated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9D2B87-218B-C26E-D188-43CA7DF75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3473" y="188196"/>
            <a:ext cx="1111436" cy="102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51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7227">
        <p:fade/>
      </p:transition>
    </mc:Choice>
    <mc:Fallback xmlns="">
      <p:transition spd="med" advTm="8722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035E3-A5E3-8E05-5158-93B5E3B06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2E5144-B750-435C-55EC-1571130DB400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For researchers/authors: </a:t>
            </a:r>
          </a:p>
          <a:p>
            <a:pPr marL="0" indent="0">
              <a:buNone/>
            </a:pPr>
            <a:endParaRPr lang="nl-NL" dirty="0"/>
          </a:p>
          <a:p>
            <a:pPr>
              <a:buFontTx/>
              <a:buChar char="-"/>
            </a:pPr>
            <a:r>
              <a:rPr lang="nl-NL" dirty="0"/>
              <a:t>Editors included as authors – needs COI</a:t>
            </a:r>
          </a:p>
          <a:p>
            <a:pPr>
              <a:buFontTx/>
              <a:buChar char="-"/>
            </a:pPr>
            <a:r>
              <a:rPr lang="nl-NL" dirty="0"/>
              <a:t>No irrelevant references, also to retracted articles</a:t>
            </a:r>
          </a:p>
          <a:p>
            <a:pPr>
              <a:buFontTx/>
              <a:buChar char="-"/>
            </a:pPr>
            <a:r>
              <a:rPr lang="nl-NL" dirty="0"/>
              <a:t>Conflicting or missing ethical statements should be avoided, ie</a:t>
            </a:r>
          </a:p>
          <a:p>
            <a:pPr lvl="1">
              <a:buFontTx/>
              <a:buChar char="-"/>
            </a:pPr>
            <a:r>
              <a:rPr lang="nl-NL" dirty="0"/>
              <a:t>‘Patient Consent was waived’ then later, ‘Patient Consent was obtained’</a:t>
            </a:r>
          </a:p>
          <a:p>
            <a:pPr marL="393750" indent="-285750"/>
            <a:r>
              <a:rPr lang="nl-NL" dirty="0"/>
              <a:t>Submit your article as the correct article type: paper submitted as Letter to the Editor, but is really a Case Report will cause problems</a:t>
            </a:r>
          </a:p>
          <a:p>
            <a:pPr marL="393750" indent="-285750"/>
            <a:r>
              <a:rPr lang="nl-NL" dirty="0"/>
              <a:t>Authorship contribution statement preferred</a:t>
            </a:r>
          </a:p>
          <a:p>
            <a:pPr marL="393750" indent="-285750"/>
            <a:r>
              <a:rPr lang="nl-NL" dirty="0"/>
              <a:t>All papers should have an English title and abstract for indexation</a:t>
            </a:r>
          </a:p>
          <a:p>
            <a:pPr marL="393750" indent="-285750"/>
            <a:r>
              <a:rPr lang="nl-NL" b="1" dirty="0"/>
              <a:t>Most important: make sure all ethical statements are included and correct!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B74BD6-4792-48C6-C54F-3545FDAF0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eb of Science - tips</a:t>
            </a:r>
          </a:p>
        </p:txBody>
      </p:sp>
      <p:pic>
        <p:nvPicPr>
          <p:cNvPr id="5" name="Picture 4" descr="A yellow light bulb with black text&#10;&#10;AI-generated content may be incorrect.">
            <a:extLst>
              <a:ext uri="{FF2B5EF4-FFF2-40B4-BE49-F238E27FC236}">
                <a16:creationId xmlns:a16="http://schemas.microsoft.com/office/drawing/2014/main" id="{656196AE-9BB9-4EF8-454A-744574EDAD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657" y="0"/>
            <a:ext cx="1721732" cy="143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5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2762">
        <p:fade/>
      </p:transition>
    </mc:Choice>
    <mc:Fallback xmlns="">
      <p:transition spd="med" advTm="172762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1CDAE-6B4E-DBE8-30B8-1ED424801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50EF5-394A-E9C8-41C8-F415119259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dirty="0"/>
              <a:t>For Publishers or Societies that are self-publishing:</a:t>
            </a:r>
          </a:p>
          <a:p>
            <a:pPr marL="0" indent="0">
              <a:lnSpc>
                <a:spcPct val="90000"/>
              </a:lnSpc>
              <a:buNone/>
            </a:pPr>
            <a:endParaRPr lang="nl-NL" dirty="0"/>
          </a:p>
          <a:p>
            <a:pPr>
              <a:lnSpc>
                <a:spcPct val="90000"/>
              </a:lnSpc>
            </a:pPr>
            <a:r>
              <a:rPr lang="nl-NL" dirty="0"/>
              <a:t>Accept the best scientific quality articles that you can (key to indexation)</a:t>
            </a:r>
          </a:p>
          <a:p>
            <a:pPr>
              <a:lnSpc>
                <a:spcPct val="90000"/>
              </a:lnSpc>
            </a:pPr>
            <a:r>
              <a:rPr lang="nl-NL" dirty="0"/>
              <a:t>Regular discussions with board on ethical standards. How can these be checked at the point of submission?</a:t>
            </a:r>
          </a:p>
          <a:p>
            <a:pPr>
              <a:lnSpc>
                <a:spcPct val="90000"/>
              </a:lnSpc>
            </a:pPr>
            <a:r>
              <a:rPr lang="nl-NL" dirty="0"/>
              <a:t>Stick to publication schedule and aims/scope</a:t>
            </a:r>
          </a:p>
          <a:p>
            <a:pPr>
              <a:lnSpc>
                <a:spcPct val="90000"/>
              </a:lnSpc>
            </a:pPr>
            <a:r>
              <a:rPr lang="nl-NL" dirty="0"/>
              <a:t>Ensure your journal home page is up-to-date with full editorial board info, plus their affiliations. Add URLs to societies or working groups such </a:t>
            </a:r>
            <a:r>
              <a:rPr lang="nl-NL" dirty="0">
                <a:hlinkClick r:id="rId3"/>
              </a:rPr>
              <a:t>https://www.icmje.org/about-icmje/</a:t>
            </a:r>
            <a:endParaRPr lang="nl-NL" dirty="0"/>
          </a:p>
          <a:p>
            <a:pPr>
              <a:lnSpc>
                <a:spcPct val="90000"/>
              </a:lnSpc>
            </a:pPr>
            <a:r>
              <a:rPr lang="nl-NL" dirty="0"/>
              <a:t>Special issues should be relevant to the journal. Guest Editors also need full affiliation details</a:t>
            </a:r>
          </a:p>
          <a:p>
            <a:pPr>
              <a:lnSpc>
                <a:spcPct val="90000"/>
              </a:lnSpc>
            </a:pPr>
            <a:r>
              <a:rPr lang="nl-NL" dirty="0"/>
              <a:t>Stick to what you state in your </a:t>
            </a:r>
            <a:r>
              <a:rPr lang="nl-NL" i="1" dirty="0"/>
              <a:t>Information for Authors. </a:t>
            </a:r>
            <a:r>
              <a:rPr lang="nl-NL" dirty="0"/>
              <a:t>Indexation services consult these closely.</a:t>
            </a:r>
            <a:endParaRPr lang="nl-NL" i="1" dirty="0"/>
          </a:p>
          <a:p>
            <a:pPr>
              <a:lnSpc>
                <a:spcPct val="90000"/>
              </a:lnSpc>
            </a:pP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2AD909-D307-B155-5568-BE00D501F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nl-NL" dirty="0"/>
              <a:t>Web of Science – tips continued</a:t>
            </a:r>
          </a:p>
        </p:txBody>
      </p:sp>
      <p:pic>
        <p:nvPicPr>
          <p:cNvPr id="5" name="Picture 4" descr="A yellow light bulb with black text&#10;&#10;AI-generated content may be incorrect.">
            <a:extLst>
              <a:ext uri="{FF2B5EF4-FFF2-40B4-BE49-F238E27FC236}">
                <a16:creationId xmlns:a16="http://schemas.microsoft.com/office/drawing/2014/main" id="{072C108F-3D76-7051-ED26-A7C6D146510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481" y="-17924"/>
            <a:ext cx="1721732" cy="143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2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6990">
        <p:fade/>
      </p:transition>
    </mc:Choice>
    <mc:Fallback xmlns="">
      <p:transition spd="med" advTm="11699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DEF5D-0A53-9903-3D9F-9E4AF4B2E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0A5D9D-73C2-81D5-42EC-FFDA11E4805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sz="1600" dirty="0"/>
              <a:t>A multidisciplinary database managed by Elsevier.</a:t>
            </a:r>
          </a:p>
          <a:p>
            <a:r>
              <a:rPr lang="en-US" sz="1600" dirty="0"/>
              <a:t>Covers peer-reviewed journals, books, and conference papers.</a:t>
            </a:r>
          </a:p>
          <a:p>
            <a:r>
              <a:rPr lang="en-US" sz="1600" dirty="0"/>
              <a:t>Focuses on international scholarly output across all disciplines.</a:t>
            </a:r>
          </a:p>
          <a:p>
            <a:r>
              <a:rPr lang="en-US" sz="1600" dirty="0"/>
              <a:t>Offers author profiles and tools for citation tracking and analytics.</a:t>
            </a:r>
          </a:p>
          <a:p>
            <a:r>
              <a:rPr lang="en-US" sz="1600" dirty="0"/>
              <a:t>Used widely for academic impact evaluation (e.g., h-index)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High acceptance rate for well-known publishers – application results known within a year</a:t>
            </a:r>
          </a:p>
          <a:p>
            <a:r>
              <a:rPr lang="en-US" sz="1600" dirty="0" err="1"/>
              <a:t>CiteScore</a:t>
            </a:r>
            <a:r>
              <a:rPr lang="en-US" sz="1600" dirty="0"/>
              <a:t> tracker available once journal page is live on Scopus</a:t>
            </a:r>
          </a:p>
          <a:p>
            <a:r>
              <a:rPr lang="en-US" sz="1600" dirty="0"/>
              <a:t>Release of yearly </a:t>
            </a:r>
            <a:r>
              <a:rPr lang="en-US" sz="1600" dirty="0" err="1"/>
              <a:t>CiteScore</a:t>
            </a:r>
            <a:r>
              <a:rPr lang="en-US" sz="1600" dirty="0"/>
              <a:t> in Apri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67E13B-9257-46C9-4A4A-19A55DDD4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copus (CiteScore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16D220-0C24-3B5F-0783-80AA52CD2CEA}"/>
              </a:ext>
            </a:extLst>
          </p:cNvPr>
          <p:cNvSpPr txBox="1"/>
          <p:nvPr/>
        </p:nvSpPr>
        <p:spPr>
          <a:xfrm>
            <a:off x="2143049" y="2571750"/>
            <a:ext cx="4688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What this means for Publishers and Researcher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A410E2-375A-A36A-D3B9-F3A080A3BF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5942" y="148049"/>
            <a:ext cx="1527650" cy="619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465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6029">
        <p:fade/>
      </p:transition>
    </mc:Choice>
    <mc:Fallback xmlns="">
      <p:transition spd="med" advTm="116029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2057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7D232A5-E476-470D-8B9F-7DF57FFBA801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0BD70AD-5EFD-46BE-B9CF-4081C5AD7863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91A861E9-5B38-4BD0-B058-E89188F8319A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A827AD72-1E3C-496B-A642-4C319537B57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49ac42a-3eb4-4074-b885-aea26bd6241e}" enabled="1" method="Standard" siteId="{9274ee3f-9425-4109-a27f-9fb15c10675d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23</TotalTime>
  <Words>1442</Words>
  <Application>Microsoft Office PowerPoint</Application>
  <PresentationFormat>On-screen Show (16:9)</PresentationFormat>
  <Paragraphs>187</Paragraphs>
  <Slides>16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ourier New</vt:lpstr>
      <vt:lpstr>Wingdings</vt:lpstr>
      <vt:lpstr>Elsevier light</vt:lpstr>
      <vt:lpstr>Elsevier light - Charts and Data</vt:lpstr>
      <vt:lpstr>Elsevier dark</vt:lpstr>
      <vt:lpstr>Elsevier dark - Charts and Data</vt:lpstr>
      <vt:lpstr>Indexation basics</vt:lpstr>
      <vt:lpstr>Topics we are covering:</vt:lpstr>
      <vt:lpstr>Indexation services</vt:lpstr>
      <vt:lpstr>DOAJ (Directory of Open Access Journals)</vt:lpstr>
      <vt:lpstr>Web of Science – WoS (Clarivate) – Impact Factor</vt:lpstr>
      <vt:lpstr>How is Impact Factor (IF) calculated?</vt:lpstr>
      <vt:lpstr>Web of Science - tips</vt:lpstr>
      <vt:lpstr>Web of Science – tips continued</vt:lpstr>
      <vt:lpstr>Scopus (CiteScore)</vt:lpstr>
      <vt:lpstr>How is CiteScore calculated?</vt:lpstr>
      <vt:lpstr>Scopus - tips</vt:lpstr>
      <vt:lpstr>Scopus tips - continued</vt:lpstr>
      <vt:lpstr>PubMed</vt:lpstr>
      <vt:lpstr>PubMed Central (PMC)</vt:lpstr>
      <vt:lpstr>Medline</vt:lpstr>
      <vt:lpstr>             Any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vell, Geraldine (ELS-AMS)</dc:creator>
  <cp:lastModifiedBy>Lovell, Geraldine (ELS-AMS)</cp:lastModifiedBy>
  <cp:revision>25</cp:revision>
  <cp:lastPrinted>2018-07-23T12:36:44Z</cp:lastPrinted>
  <dcterms:created xsi:type="dcterms:W3CDTF">2025-01-28T12:32:01Z</dcterms:created>
  <dcterms:modified xsi:type="dcterms:W3CDTF">2025-10-21T09:20:15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5-01-28T12:42:21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b598c37b-ac16-4806-8368-e14ec6bf64e1</vt:lpwstr>
  </property>
  <property fmtid="{D5CDD505-2E9C-101B-9397-08002B2CF9AE}" pid="9" name="MSIP_Label_549ac42a-3eb4-4074-b885-aea26bd6241e_ContentBits">
    <vt:lpwstr>0</vt:lpwstr>
  </property>
</Properties>
</file>